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7"/>
  </p:notesMasterIdLst>
  <p:sldIdLst>
    <p:sldId id="2147482658" r:id="rId5"/>
    <p:sldId id="2147482657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23C"/>
    <a:srgbClr val="FFFFFF"/>
    <a:srgbClr val="00EB81"/>
    <a:srgbClr val="E6DCFF"/>
    <a:srgbClr val="0041F0"/>
    <a:srgbClr val="DCAFFF"/>
    <a:srgbClr val="FF50A0"/>
    <a:srgbClr val="FF3246"/>
    <a:srgbClr val="00FFFF"/>
    <a:srgbClr val="D4D4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4021F68-0494-496A-BD4B-43C0DD56B880}" v="32" dt="2025-10-31T21:53:34.360"/>
    <p1510:client id="{F8B6DB93-B16F-4284-82B1-E93DAFE73FFA}" v="1" dt="2025-10-31T23:27:17.724"/>
  </p1510:revLst>
</p1510:revInfo>
</file>

<file path=ppt/tableStyles.xml><?xml version="1.0" encoding="utf-8"?>
<a:tblStyleLst xmlns:a="http://schemas.openxmlformats.org/drawingml/2006/main" def="{A0BC3CC4-8867-4C89-9D3F-A6A6B9ED4035}">
  <a:tblStyle styleId="{A0BC3CC4-8867-4C89-9D3F-A6A6B9ED4035}" styleName="Acc_Table_1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6350" cmpd="sng">
              <a:solidFill>
                <a:srgbClr val="D9D9D9"/>
              </a:solidFill>
            </a:ln>
          </a:insideH>
          <a:insideV>
            <a:ln w="6350" cmpd="sng">
              <a:solidFill>
                <a:srgbClr val="D9D9D9"/>
              </a:solidFill>
            </a:ln>
          </a:insideV>
        </a:tcBdr>
        <a:fill>
          <a:noFill/>
        </a:fill>
      </a:tcStyle>
    </a:wholeTbl>
    <a:band1H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H>
    <a:band1V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/>
      </a:tcStyle>
    </a:lastRow>
    <a:firstRow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04" autoAdjust="0"/>
    <p:restoredTop sz="94924" autoAdjust="0"/>
  </p:normalViewPr>
  <p:slideViewPr>
    <p:cSldViewPr snapToGrid="0" showGuides="1">
      <p:cViewPr varScale="1">
        <p:scale>
          <a:sx n="70" d="100"/>
          <a:sy n="70" d="100"/>
        </p:scale>
        <p:origin x="1157" y="2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8141"/>
    </p:cViewPr>
  </p:sorterViewPr>
  <p:notesViewPr>
    <p:cSldViewPr snapToGrid="0">
      <p:cViewPr varScale="1">
        <p:scale>
          <a:sx n="81" d="100"/>
          <a:sy n="81" d="100"/>
        </p:scale>
        <p:origin x="3516" y="5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027613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1DE7078C-3525-4C9B-BF62-C9FD13B9A875}" type="datetimeFigureOut">
              <a:rPr lang="en-US" smtClean="0"/>
              <a:pPr/>
              <a:t>10/31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205" y="274505"/>
            <a:ext cx="4734172" cy="266297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0206" y="2999605"/>
            <a:ext cx="6751750" cy="586989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923817"/>
            <a:ext cx="6217919" cy="21237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99213" y="8917749"/>
            <a:ext cx="457200" cy="2184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436E8A87-18DA-4CCE-A8C2-BDBC489258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38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12713" indent="-112713" algn="l" defTabSz="914400" rtl="0" eaLnBrk="1" latinLnBrk="0" hangingPunct="1">
      <a:buFont typeface="Graphik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30188" indent="-112713" algn="l">
      <a:buFont typeface="Graphik" panose="020B0604020202020204" pitchFamily="34" charset="0"/>
      <a:buChar char="•"/>
      <a:defRPr sz="1000">
        <a:latin typeface="+mn-lt"/>
      </a:defRPr>
    </a:lvl2pPr>
    <a:lvl3pPr marL="342900" indent="-112713" algn="l">
      <a:buFont typeface="Graphik" panose="020B0604020202020204" pitchFamily="34" charset="0"/>
      <a:buChar char="•"/>
      <a:defRPr sz="900">
        <a:latin typeface="+mn-lt"/>
      </a:defRPr>
    </a:lvl3pPr>
    <a:lvl4pPr marL="460375" indent="-112713" algn="l">
      <a:buFont typeface="Graphik" panose="020B0604020202020204" pitchFamily="34" charset="0"/>
      <a:buChar char="•"/>
      <a:defRPr sz="800">
        <a:latin typeface="+mn-lt"/>
      </a:defRPr>
    </a:lvl4pPr>
    <a:lvl5pPr marL="571500" indent="-112713" algn="l">
      <a:buFont typeface="Graphik" panose="020B0604020202020204" pitchFamily="34" charset="0"/>
      <a:buChar char="•"/>
      <a:defRPr sz="800">
        <a:latin typeface="+mn-lt"/>
      </a:defRPr>
    </a:lvl5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7FF053D-F28D-430E-0239-CE8ED65664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971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FF053D-F28D-430E-0239-CE8ED65664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C06DB281-EA53-C29C-C70A-13D0082F3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CC1B7B8-2FCE-B823-1046-0985C007FC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0FA015-B515-8D42-24DE-DB142CE72A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245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3313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AFF1CEE3-E058-7E9F-C296-DD3BD5D2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791592"/>
            <a:ext cx="11430000" cy="56438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2FA907-42B9-6FA1-C4DF-A540BFE35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818C3AE-678A-48F5-EE59-84E1AE2DC0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691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Inver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0420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08927"/>
            <a:ext cx="11430000" cy="324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endParaRPr lang="pt-BR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FF1CEE3-E058-7E9F-C296-DD3BD5D2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650247"/>
            <a:ext cx="11430000" cy="432000"/>
          </a:xfrm>
        </p:spPr>
        <p:txBody>
          <a:bodyPr vert="horz"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8F9C570-8ADD-BDD4-0CD9-C5A9C02D16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963760-62E3-11BA-AEE9-E17FF19CD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94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2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147848"/>
            <a:ext cx="11430000" cy="56438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9FC1387-F76A-5CD9-1471-AB709200A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9038AC-B619-5EB1-8D41-D4C38DBF5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4469A7-C007-9466-EA28-F04CC2C2F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825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D2B6B66-FB75-271B-FA63-2A6910A3EC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8762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2B6B66-FB75-271B-FA63-2A6910A3EC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BC61A9-92B1-2D35-4680-3DE1FE9AB59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F3B625-43D1-998E-66A4-B8CE5FAFEB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42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D67B2F2-1DAE-2B5A-05AF-29C1279A78D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5BE9C89-B887-81BD-58F3-159D70BDFF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5811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4499A4D-E1EC-608F-9006-A468770F68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5529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499A4D-E1EC-608F-9006-A468770F6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2pt, min 28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US" dirty="0"/>
              <a:t>Copyright © 2025 Accenture. All rights reserved.</a:t>
            </a:r>
            <a:endParaRPr lang="en-GB" dirty="0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0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745" r:id="rId2"/>
    <p:sldLayoutId id="2147483747" r:id="rId3"/>
    <p:sldLayoutId id="2147483746" r:id="rId4"/>
    <p:sldLayoutId id="2147483741" r:id="rId5"/>
    <p:sldLayoutId id="2147483748" r:id="rId6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600" b="0" kern="1200" spc="-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C35EA4"/>
          </p15:clr>
        </p15:guide>
        <p15:guide id="2" orient="horz" pos="3976" userDrawn="1">
          <p15:clr>
            <a:srgbClr val="C35EA4"/>
          </p15:clr>
        </p15:guide>
        <p15:guide id="3" pos="240" userDrawn="1">
          <p15:clr>
            <a:srgbClr val="C35EA4"/>
          </p15:clr>
        </p15:guide>
        <p15:guide id="4" pos="744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3C7260-21A0-2C63-9B29-C837A27730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C4E1756-B669-E0FC-C440-104AE09E19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1DAE2C-6D9D-34F4-D07B-B2D0CE6DDAD1}"/>
              </a:ext>
            </a:extLst>
          </p:cNvPr>
          <p:cNvSpPr txBox="1"/>
          <p:nvPr/>
        </p:nvSpPr>
        <p:spPr>
          <a:xfrm>
            <a:off x="381000" y="2553411"/>
            <a:ext cx="3318678" cy="288147"/>
          </a:xfrm>
          <a:prstGeom prst="rect">
            <a:avLst/>
          </a:prstGeom>
          <a:noFill/>
        </p:spPr>
        <p:txBody>
          <a:bodyPr wrap="square" lIns="0" tIns="0" rIns="0" bIns="72000" rtlCol="0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accent1"/>
                </a:solidFill>
              </a:defRPr>
            </a:lvl1pPr>
          </a:lstStyle>
          <a:p>
            <a:r>
              <a:rPr lang="pt-BR" sz="1400">
                <a:solidFill>
                  <a:schemeClr val="tx1"/>
                </a:solidFill>
              </a:rPr>
              <a:t>Premissas e Condiçõ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AB18BA2-6A93-8703-0780-2A2DFA2EC8BA}"/>
              </a:ext>
            </a:extLst>
          </p:cNvPr>
          <p:cNvCxnSpPr>
            <a:cxnSpLocks/>
          </p:cNvCxnSpPr>
          <p:nvPr/>
        </p:nvCxnSpPr>
        <p:spPr>
          <a:xfrm>
            <a:off x="381000" y="2872335"/>
            <a:ext cx="234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85542A1-D0A0-C339-10C7-7811DF2CB32A}"/>
              </a:ext>
            </a:extLst>
          </p:cNvPr>
          <p:cNvSpPr txBox="1">
            <a:spLocks/>
          </p:cNvSpPr>
          <p:nvPr/>
        </p:nvSpPr>
        <p:spPr>
          <a:xfrm>
            <a:off x="381000" y="3091554"/>
            <a:ext cx="11430000" cy="30726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algn="just" defTabSz="913851" fontAlgn="auto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>
                <a:latin typeface="+mj-lt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spcAft>
                <a:spcPts val="800"/>
              </a:spcAft>
            </a:pPr>
            <a:r>
              <a:rPr lang="pt-BR" sz="900" dirty="0">
                <a:latin typeface="+mn-lt"/>
              </a:rPr>
              <a:t>A emissão das faturas será feita conforme o cronograma do projeto de acordo com a seguinte distribuição: 40% (cinquenta por cento) dos honorários </a:t>
            </a:r>
            <a:r>
              <a:rPr lang="pt-BR" sz="900" u="sng" dirty="0">
                <a:latin typeface="+mn-lt"/>
              </a:rPr>
              <a:t>no início dos trabalhos</a:t>
            </a:r>
            <a:r>
              <a:rPr lang="pt-BR" sz="900" dirty="0">
                <a:latin typeface="+mn-lt"/>
              </a:rPr>
              <a:t>, 30% (trinta por cento) </a:t>
            </a:r>
            <a:r>
              <a:rPr lang="pt-BR" sz="900" u="sng" dirty="0">
                <a:latin typeface="+mn-lt"/>
              </a:rPr>
              <a:t>no fim do primeiro mês </a:t>
            </a:r>
            <a:r>
              <a:rPr lang="pt-BR" sz="900" dirty="0">
                <a:latin typeface="+mn-lt"/>
              </a:rPr>
              <a:t>e os 30% (vinte por cento) </a:t>
            </a:r>
            <a:r>
              <a:rPr lang="pt-BR" sz="900" u="sng" dirty="0">
                <a:latin typeface="+mn-lt"/>
              </a:rPr>
              <a:t>restantes na conclusão dos trabalhos</a:t>
            </a:r>
            <a:r>
              <a:rPr lang="pt-BR" sz="900" dirty="0">
                <a:latin typeface="+mn-lt"/>
              </a:rPr>
              <a:t>. </a:t>
            </a:r>
          </a:p>
          <a:p>
            <a:pPr>
              <a:spcAft>
                <a:spcPts val="800"/>
              </a:spcAft>
            </a:pPr>
            <a:r>
              <a:rPr lang="pt-BR" sz="900" dirty="0">
                <a:latin typeface="+mn-lt"/>
              </a:rPr>
              <a:t>O prazo para pagamento de nossas faturas é de 30 (trinta) dias corridos, contados da data de emissão.</a:t>
            </a:r>
          </a:p>
          <a:p>
            <a:pPr>
              <a:spcAft>
                <a:spcPts val="800"/>
              </a:spcAft>
            </a:pPr>
            <a:r>
              <a:rPr lang="pt-BR" sz="900" dirty="0">
                <a:latin typeface="+mn-lt"/>
              </a:rPr>
              <a:t>O Preço Accenture não inclui impostos. No entanto, a faturação da Accenture considerará o preço acrescido dos impostos aplicáveis e respetivas taxas, em vigor no momento da faturação. Portanto, caso durante a vigência do projeto sejam criados, extintos e/ou modificados novos tributos vigentes no momento da apresentação da Proposta, incluindo as respectivas alíquotas, as Partes acordam que o faturamento dos Serviços refletirá os valores de quaisquer diferenças decorrentes dessas alterações, de forma a manter os atuais níveis remuneratórios.</a:t>
            </a:r>
          </a:p>
          <a:p>
            <a:pPr>
              <a:spcAft>
                <a:spcPts val="800"/>
              </a:spcAft>
            </a:pPr>
            <a:r>
              <a:rPr lang="pt-BR" sz="900" dirty="0">
                <a:latin typeface="+mn-lt"/>
              </a:rPr>
              <a:t>Os preços apresentados não incluem despesas como, mas não se limitando a, viagens, alimentação, alojamento e manutenção da equipa do projeto); Se necessário, tais despesas deverão ser reembolsadas pelo cliente dentro do processo de faturamento mensal, acrescidas de todos os impostos aplicáveis.</a:t>
            </a:r>
          </a:p>
          <a:p>
            <a:pPr>
              <a:spcAft>
                <a:spcPts val="800"/>
              </a:spcAft>
            </a:pPr>
            <a:r>
              <a:rPr lang="pt-BR" sz="900" dirty="0">
                <a:latin typeface="+mn-lt"/>
              </a:rPr>
              <a:t>Caso a lei exija a retenção de tributos federais (PIS, COFINS, CSLL, IRPJ e INSS), tal retenção poderá ser realizada pelo Cliente. Quanto a possíveis retenções de ISS (imposto municipal) entre diferentes cidades, as Partes reconhecem que o preço não inclui qualquer retenção. Se a lei municipal do local do Cliente exigir tal retenção, o Cliente deverá adicioná-la ao pagamento para que a Accenture receba o valor total do preço.</a:t>
            </a:r>
          </a:p>
          <a:p>
            <a:pPr>
              <a:spcAft>
                <a:spcPts val="800"/>
              </a:spcAft>
            </a:pPr>
            <a:r>
              <a:rPr lang="pt-BR" sz="900" dirty="0">
                <a:latin typeface="+mn-lt"/>
              </a:rPr>
              <a:t>O preço apresentado nesta Proposta inclui os benefícios trazidos pela contribuição previdenciária sobre a receita bruta (desoneração da folha de pagamento), conforme descrito na Lei nº 12.546, de 1º de dezembro de 2011 e alterações posteriores. Caso este tipo de tributação deixe de existir, ou sofra alterações, esse impacto deverá ser refletido no Preço apresentado nesta Proposta.</a:t>
            </a:r>
          </a:p>
          <a:p>
            <a:pPr>
              <a:spcAft>
                <a:spcPts val="800"/>
              </a:spcAft>
            </a:pPr>
            <a:r>
              <a:rPr lang="pt-BR" sz="900" dirty="0">
                <a:latin typeface="+mn-lt"/>
              </a:rPr>
              <a:t>As Partes concordam em cooperar entre si para ajudar a outra Parte a minimizar qualquer possível responsabilidade fiscal, dentro dos limites legais, bem como para fornecer à outra Parte isenções ou certificações fiscais razoavelmente solicitadas.</a:t>
            </a:r>
          </a:p>
          <a:p>
            <a:pPr>
              <a:spcAft>
                <a:spcPts val="800"/>
              </a:spcAft>
            </a:pPr>
            <a:r>
              <a:rPr lang="pt-BR" sz="900" dirty="0">
                <a:latin typeface="+mn-lt"/>
              </a:rPr>
              <a:t>As Partes desde já concordam em rever as condições (comerciais e técnicas) ora estabelecidas caso ocorra fato que resulte na onerosidade excessiva desta Proposta, a fim de manter as mesmas condições inicialmente acordada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C099898-2832-40AE-68FF-02486E76EE3C}"/>
              </a:ext>
            </a:extLst>
          </p:cNvPr>
          <p:cNvSpPr/>
          <p:nvPr/>
        </p:nvSpPr>
        <p:spPr>
          <a:xfrm>
            <a:off x="392414" y="1331415"/>
            <a:ext cx="4518675" cy="97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tIns="46800" rIns="46800" bIns="46800" rtlCol="0" anchor="ctr"/>
          <a:lstStyle/>
          <a:p>
            <a:pPr algn="ctr"/>
            <a:endParaRPr lang="pt-BR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0B856C-9523-6563-CB65-FF31D4DC0507}"/>
              </a:ext>
            </a:extLst>
          </p:cNvPr>
          <p:cNvSpPr txBox="1"/>
          <p:nvPr/>
        </p:nvSpPr>
        <p:spPr>
          <a:xfrm>
            <a:off x="518415" y="1435319"/>
            <a:ext cx="4047490" cy="58477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Graphik Semibold"/>
                <a:ea typeface="+mn-ea"/>
                <a:cs typeface="+mn-cs"/>
              </a:rPr>
              <a:t>R$ 2.000.000,00 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Graphik Semibold"/>
                <a:ea typeface="+mn-ea"/>
                <a:cs typeface="+mn-cs"/>
              </a:rPr>
              <a:t>+ impostos</a:t>
            </a:r>
            <a:endParaRPr kumimoji="0" lang="pt-BR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Graphik Semibold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Graphik"/>
                <a:ea typeface="+mn-ea"/>
                <a:cs typeface="+mn-cs"/>
              </a:rPr>
              <a:t>(dois milhões</a:t>
            </a:r>
            <a:r>
              <a:rPr lang="pt-BR" sz="1050" dirty="0">
                <a:solidFill>
                  <a:srgbClr val="000000"/>
                </a:solidFill>
                <a:highlight>
                  <a:srgbClr val="FFFF00"/>
                </a:highlight>
                <a:latin typeface="Graphik"/>
              </a:rPr>
              <a:t> de </a:t>
            </a:r>
            <a:r>
              <a:rPr kumimoji="0" lang="pt-BR" sz="105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Graphik"/>
                <a:ea typeface="+mn-ea"/>
                <a:cs typeface="+mn-cs"/>
              </a:rPr>
              <a:t>reais</a:t>
            </a:r>
            <a:r>
              <a:rPr lang="pt-BR" sz="1050" dirty="0">
                <a:solidFill>
                  <a:srgbClr val="000000"/>
                </a:solidFill>
                <a:highlight>
                  <a:srgbClr val="FFFF00"/>
                </a:highlight>
                <a:latin typeface="Graphik"/>
              </a:rPr>
              <a:t>)</a:t>
            </a:r>
            <a:endParaRPr kumimoji="0" lang="pt-BR" sz="1050" b="0" i="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522C069-214B-A625-596F-F9A026BC1F60}"/>
              </a:ext>
            </a:extLst>
          </p:cNvPr>
          <p:cNvGrpSpPr/>
          <p:nvPr/>
        </p:nvGrpSpPr>
        <p:grpSpPr>
          <a:xfrm>
            <a:off x="5391764" y="1388547"/>
            <a:ext cx="3531256" cy="616794"/>
            <a:chOff x="5391764" y="1414522"/>
            <a:chExt cx="3531256" cy="616794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F593605-A61D-AD8D-ECF2-BECB7F56AAFE}"/>
                </a:ext>
              </a:extLst>
            </p:cNvPr>
            <p:cNvSpPr txBox="1"/>
            <p:nvPr/>
          </p:nvSpPr>
          <p:spPr>
            <a:xfrm>
              <a:off x="5391765" y="1692762"/>
              <a:ext cx="3014619" cy="33855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highlight>
                    <a:srgbClr val="FFFF00"/>
                  </a:highlight>
                  <a:uLnTx/>
                  <a:uFillTx/>
                  <a:latin typeface="Graphik Medium" panose="020B0603030202060203" pitchFamily="34" charset="0"/>
                </a:rPr>
                <a:t>R$ 2.000.000,0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highlight>
                    <a:srgbClr val="FFFF00"/>
                  </a:highlight>
                  <a:uLnTx/>
                  <a:uFillTx/>
                  <a:latin typeface="Graphik"/>
                  <a:ea typeface="+mn-ea"/>
                  <a:cs typeface="+mn-cs"/>
                </a:rPr>
                <a:t>(dois milhões de reais)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E6F34EC-F4D5-AD29-B86F-480B0DE560E9}"/>
                </a:ext>
              </a:extLst>
            </p:cNvPr>
            <p:cNvSpPr txBox="1"/>
            <p:nvPr/>
          </p:nvSpPr>
          <p:spPr>
            <a:xfrm>
              <a:off x="5391764" y="1414522"/>
              <a:ext cx="353125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 defTabSz="228600">
                <a:spcAft>
                  <a:spcPts val="1200"/>
                </a:spcAft>
              </a:pPr>
              <a:r>
                <a:rPr lang="pt-BR" sz="1200" b="1" i="1" u="sng" noProof="0">
                  <a:highlight>
                    <a:srgbClr val="FFFF00"/>
                  </a:highlight>
                </a:rPr>
                <a:t>Referência</a:t>
              </a:r>
              <a:r>
                <a:rPr lang="pt-BR" sz="1200" i="1" noProof="0">
                  <a:highlight>
                    <a:srgbClr val="FFFF00"/>
                  </a:highlight>
                </a:rPr>
                <a:t> de preço acrescidos dos impostos</a:t>
              </a:r>
              <a:r>
                <a:rPr lang="pt-BR" sz="1200" i="1" baseline="30000" noProof="0">
                  <a:highlight>
                    <a:srgbClr val="FFFF00"/>
                  </a:highlight>
                </a:rPr>
                <a:t>1</a:t>
              </a:r>
              <a:r>
                <a:rPr lang="pt-BR" sz="1200" i="1" noProof="0">
                  <a:highlight>
                    <a:srgbClr val="FFFF00"/>
                  </a:highlight>
                </a:rPr>
                <a:t>:</a:t>
              </a:r>
              <a:endParaRPr lang="pt-BR" sz="1200" i="1" baseline="30000" noProof="0">
                <a:highlight>
                  <a:srgbClr val="FFFF00"/>
                </a:highlight>
              </a:endParaRPr>
            </a:p>
          </p:txBody>
        </p:sp>
      </p:grp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C3CD6131-8E2A-2714-AA89-B14442BC6EFC}"/>
              </a:ext>
            </a:extLst>
          </p:cNvPr>
          <p:cNvSpPr txBox="1">
            <a:spLocks/>
          </p:cNvSpPr>
          <p:nvPr/>
        </p:nvSpPr>
        <p:spPr>
          <a:xfrm>
            <a:off x="762000" y="6488113"/>
            <a:ext cx="6480000" cy="19843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900" b="1">
                <a:solidFill>
                  <a:schemeClr val="tx1"/>
                </a:solidFill>
              </a:rPr>
              <a:t>1</a:t>
            </a:r>
            <a:r>
              <a:rPr lang="pt-BR" sz="900">
                <a:solidFill>
                  <a:schemeClr val="tx1"/>
                </a:solidFill>
              </a:rPr>
              <a:t>. Apenas para fins de referência, atualmente, os serviços faturados da cidade São Paulo/SP para cliente na cidade São Paulo/SP são acrescidos de ISS (5%), PIS (1,65%) e COFINS (7,60%), de acordo com as alíquotas vigentes</a:t>
            </a:r>
          </a:p>
        </p:txBody>
      </p:sp>
    </p:spTree>
    <p:extLst>
      <p:ext uri="{BB962C8B-B14F-4D97-AF65-F5344CB8AC3E}">
        <p14:creationId xmlns:p14="http://schemas.microsoft.com/office/powerpoint/2010/main" val="33981101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DAB4E39-E30E-FE93-5468-AC30FEF3C9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6D22CC-C406-A8CC-9585-FDF8E78249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5200" y="6488234"/>
            <a:ext cx="4114800" cy="198318"/>
          </a:xfr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pt-B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5573F8-AB97-C846-60CB-202117F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</p:spPr>
        <p:txBody>
          <a:bodyPr/>
          <a:lstStyle/>
          <a:p>
            <a:fld id="{1F90F471-3972-4120-B8B3-0237DE626C35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E802C8-6229-F9CD-D8EB-539C5F891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60276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Templat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Graphik">
      <a:majorFont>
        <a:latin typeface="Graphik Semibold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Tmplt_Graphik_210225_Fixed_Accessible.potx" id="{80BF15C9-A5DA-472C-9F1E-82F4EBB43D59}" vid="{02DD174B-CE7A-418B-90DA-AC9D16AAE59C}"/>
    </a:ext>
  </a:extLst>
</a:theme>
</file>

<file path=ppt/theme/theme2.xml><?xml version="1.0" encoding="utf-8"?>
<a:theme xmlns:a="http://schemas.openxmlformats.org/drawingml/2006/main" name="Office Theme">
  <a:themeElements>
    <a:clrScheme name="Acc_Colors_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_Fonts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9EF807C2354943A31A31FB9E6B8A38" ma:contentTypeVersion="2" ma:contentTypeDescription="Create a new document." ma:contentTypeScope="" ma:versionID="f03a519f31e72ece704f842ab0e4ba72">
  <xsd:schema xmlns:xsd="http://www.w3.org/2001/XMLSchema" xmlns:xs="http://www.w3.org/2001/XMLSchema" xmlns:p="http://schemas.microsoft.com/office/2006/metadata/properties" xmlns:ns2="5d757215-fbc3-4533-822f-84ec73f97a40" targetNamespace="http://schemas.microsoft.com/office/2006/metadata/properties" ma:root="true" ma:fieldsID="1cb72d0557a9ded9ba0b46b2c3d18190" ns2:_="">
    <xsd:import namespace="5d757215-fbc3-4533-822f-84ec73f97a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757215-fbc3-4533-822f-84ec73f97a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FB95095-D3DE-4DE5-BB17-E1EF8BB262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757215-fbc3-4533-822f-84ec73f97a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9831B46-6CD1-40D2-9FB5-3E58559F90A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6BFFC05-B2F6-4CED-BE65-F75B1EB7AD7B}">
  <ds:schemaRefs>
    <ds:schemaRef ds:uri="http://purl.org/dc/dcmitype/"/>
    <ds:schemaRef ds:uri="http://purl.org/dc/terms/"/>
    <ds:schemaRef ds:uri="http://purl.org/dc/elements/1.1/"/>
    <ds:schemaRef ds:uri="http://schemas.microsoft.com/office/2006/metadata/properties"/>
    <ds:schemaRef ds:uri="http://schemas.microsoft.com/office/2006/documentManagement/types"/>
    <ds:schemaRef ds:uri="f09dec34-126f-4759-b06d-a920de720ce4"/>
    <ds:schemaRef ds:uri="http://schemas.openxmlformats.org/package/2006/metadata/core-properties"/>
    <ds:schemaRef ds:uri="http://schemas.microsoft.com/office/infopath/2007/PartnerControls"/>
    <ds:schemaRef ds:uri="17c09f85-56e7-4417-b5d2-7fa4154de313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cc_PPT_Template_Graphik</Template>
  <TotalTime>68</TotalTime>
  <Words>541</Words>
  <Application>Microsoft Office PowerPoint</Application>
  <PresentationFormat>Widescreen</PresentationFormat>
  <Paragraphs>19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Graphik</vt:lpstr>
      <vt:lpstr>Graphik Medium</vt:lpstr>
      <vt:lpstr>Graphik Semibold</vt:lpstr>
      <vt:lpstr>Accenture Templat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Accenture PowerPoint Template 16x9 Graphik</dc:subject>
  <dc:creator>Graciotti, Brenno</dc:creator>
  <cp:lastModifiedBy>Graciotti, Brenno</cp:lastModifiedBy>
  <cp:revision>5</cp:revision>
  <cp:lastPrinted>2020-11-17T04:05:48Z</cp:lastPrinted>
  <dcterms:created xsi:type="dcterms:W3CDTF">2023-07-17T21:32:38Z</dcterms:created>
  <dcterms:modified xsi:type="dcterms:W3CDTF">2025-10-31T23:32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9EF807C2354943A31A31FB9E6B8A38</vt:lpwstr>
  </property>
</Properties>
</file>